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3455" r:id="rId4"/>
  </p:sldMasterIdLst>
  <p:notesMasterIdLst>
    <p:notesMasterId r:id="rId20"/>
  </p:notesMasterIdLst>
  <p:handoutMasterIdLst>
    <p:handoutMasterId r:id="rId21"/>
  </p:handoutMasterIdLst>
  <p:sldIdLst>
    <p:sldId id="308" r:id="rId5"/>
    <p:sldId id="310" r:id="rId6"/>
    <p:sldId id="351" r:id="rId7"/>
    <p:sldId id="356" r:id="rId8"/>
    <p:sldId id="357" r:id="rId9"/>
    <p:sldId id="358" r:id="rId10"/>
    <p:sldId id="359" r:id="rId11"/>
    <p:sldId id="312" r:id="rId12"/>
    <p:sldId id="360" r:id="rId13"/>
    <p:sldId id="361" r:id="rId14"/>
    <p:sldId id="362" r:id="rId15"/>
    <p:sldId id="363" r:id="rId16"/>
    <p:sldId id="364" r:id="rId17"/>
    <p:sldId id="365" r:id="rId18"/>
    <p:sldId id="350" r:id="rId19"/>
  </p:sldIdLst>
  <p:sldSz cx="6858000" cy="5143500"/>
  <p:notesSz cx="6858000" cy="9144000"/>
  <p:custDataLst>
    <p:tags r:id="rId22"/>
  </p:custDataLst>
  <p:defaultTextStyle>
    <a:defPPr>
      <a:defRPr lang="en-US"/>
    </a:defPPr>
    <a:lvl1pPr marL="0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2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4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6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8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10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72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33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96" algn="l" defTabSz="457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1044" userDrawn="1">
          <p15:clr>
            <a:srgbClr val="A4A3A4"/>
          </p15:clr>
        </p15:guide>
        <p15:guide id="4" orient="horz" pos="735" userDrawn="1">
          <p15:clr>
            <a:srgbClr val="A4A3A4"/>
          </p15:clr>
        </p15:guide>
        <p15:guide id="5" pos="2296" userDrawn="1">
          <p15:clr>
            <a:srgbClr val="A4A3A4"/>
          </p15:clr>
        </p15:guide>
        <p15:guide id="6" pos="360" userDrawn="1">
          <p15:clr>
            <a:srgbClr val="A4A3A4"/>
          </p15:clr>
        </p15:guide>
        <p15:guide id="7" pos="4002" userDrawn="1">
          <p15:clr>
            <a:srgbClr val="A4A3A4"/>
          </p15:clr>
        </p15:guide>
        <p15:guide id="8" pos="201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bdulrahman Naser Alajeel" initials="ANA" lastIdx="8" clrIdx="0">
    <p:extLst/>
  </p:cmAuthor>
  <p:cmAuthor id="2" name="Ibad S Khan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1A6E"/>
    <a:srgbClr val="712C81"/>
    <a:srgbClr val="DA3E7B"/>
    <a:srgbClr val="EFAC2B"/>
    <a:srgbClr val="6C6C6C"/>
    <a:srgbClr val="D02567"/>
    <a:srgbClr val="EAA1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67" autoAdjust="0"/>
    <p:restoredTop sz="97829" autoAdjust="0"/>
  </p:normalViewPr>
  <p:slideViewPr>
    <p:cSldViewPr snapToGrid="0" snapToObjects="1">
      <p:cViewPr varScale="1">
        <p:scale>
          <a:sx n="117" d="100"/>
          <a:sy n="117" d="100"/>
        </p:scale>
        <p:origin x="774" y="96"/>
      </p:cViewPr>
      <p:guideLst>
        <p:guide orient="horz" pos="1620"/>
        <p:guide pos="2160"/>
        <p:guide orient="horz" pos="1044"/>
        <p:guide orient="horz" pos="735"/>
        <p:guide pos="2296"/>
        <p:guide pos="360"/>
        <p:guide pos="4002"/>
        <p:guide pos="20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9" d="100"/>
        <a:sy n="14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51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DFAE14-9603-0E49-93CA-B1CB924C03C2}" type="datetimeFigureOut">
              <a:rPr lang="en-US" smtClean="0"/>
              <a:t>10/1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1EBE2B-9CF6-6948-940A-1955A4815F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00425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F10BFA-460E-D04D-813F-9D09E533FEC8}" type="datetimeFigureOut">
              <a:rPr lang="en-US" smtClean="0"/>
              <a:t>10/1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2F730C-0295-C648-9EC2-AB94BF5782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2232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2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4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6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8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10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72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33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96" algn="l" defTabSz="4571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3705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C3F2B8-5EF1-B94F-80BF-73F41E3E8BD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8552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1F7DDB-EE3D-DA41-A589-A6AEA723B85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865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481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9227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1468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5440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4922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35C4AF-D712-4AA3-9321-73A83578D83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8103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C3F2B8-5EF1-B94F-80BF-73F41E3E8BD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01768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C3F2B8-5EF1-B94F-80BF-73F41E3E8BD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581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597822"/>
            <a:ext cx="5829300" cy="1102519"/>
          </a:xfrm>
          <a:prstGeom prst="rect">
            <a:avLst/>
          </a:prstGeom>
        </p:spPr>
        <p:txBody>
          <a:bodyPr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8700" y="2914650"/>
            <a:ext cx="4800600" cy="1314450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97DBC-5922-314A-9621-AD40FC8DB213}" type="datetime1">
              <a:rPr lang="en-US" smtClean="0"/>
              <a:t>10/15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88E988-FB04-AB4E-BE5A-59F242AF7F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vert="eaVert" lIns="91432" tIns="45716" rIns="91432" bIns="45716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A2B8B-BCD6-414C-92F4-35ECB841DEF5}" type="datetime1">
              <a:rPr lang="en-US" smtClean="0"/>
              <a:t>10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317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72050" y="205980"/>
            <a:ext cx="1543050" cy="4388644"/>
          </a:xfrm>
          <a:prstGeom prst="rect">
            <a:avLst/>
          </a:prstGeom>
        </p:spPr>
        <p:txBody>
          <a:bodyPr vert="eaVert"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42900" y="205980"/>
            <a:ext cx="4514850" cy="4388644"/>
          </a:xfrm>
          <a:prstGeom prst="rect">
            <a:avLst/>
          </a:prstGeom>
        </p:spPr>
        <p:txBody>
          <a:bodyPr vert="eaVert" lIns="91432" tIns="45716" rIns="91432" bIns="45716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BCFC33-851B-5A44-AC31-AF2428324891}" type="datetime1">
              <a:rPr lang="en-US" smtClean="0"/>
              <a:t>10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9964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324053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200151"/>
            <a:ext cx="6172200" cy="3394472"/>
          </a:xfrm>
          <a:prstGeom prst="rect">
            <a:avLst/>
          </a:prstGeom>
        </p:spPr>
        <p:txBody>
          <a:bodyPr lIns="91432" tIns="45716" rIns="91432" bIns="45716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9BB00-69DE-C14C-B22B-031524A40100}" type="datetime1">
              <a:rPr lang="en-US" smtClean="0"/>
              <a:t>10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382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735" y="3305176"/>
            <a:ext cx="5829300" cy="1021556"/>
          </a:xfrm>
          <a:prstGeom prst="rect">
            <a:avLst/>
          </a:prstGeom>
        </p:spPr>
        <p:txBody>
          <a:bodyPr lIns="91432" tIns="45716" rIns="91432" bIns="45716"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735" y="2180035"/>
            <a:ext cx="5829300" cy="1125140"/>
          </a:xfrm>
          <a:prstGeom prst="rect">
            <a:avLst/>
          </a:prstGeom>
        </p:spPr>
        <p:txBody>
          <a:bodyPr lIns="91432" tIns="45716" rIns="91432" bIns="45716"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7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1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48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35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22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297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D68B6F-7A8F-A644-B924-664B40ABB62A}" type="datetime1">
              <a:rPr lang="en-US" smtClean="0"/>
              <a:t>10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AF2B4D-6B12-4EDF-87BB-2B55CECB66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394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1200151"/>
            <a:ext cx="3028950" cy="3394472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6150" y="1200151"/>
            <a:ext cx="3028950" cy="3394472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1BF2B1-D9FF-BE43-914A-C813A63798F2}" type="datetime1">
              <a:rPr lang="en-US" smtClean="0"/>
              <a:t>10/1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9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1151335"/>
            <a:ext cx="3030141" cy="479822"/>
          </a:xfrm>
          <a:prstGeom prst="rect">
            <a:avLst/>
          </a:prstGeom>
        </p:spPr>
        <p:txBody>
          <a:bodyPr lIns="91432" tIns="45716" rIns="91432" bIns="45716" anchor="b"/>
          <a:lstStyle>
            <a:lvl1pPr marL="0" indent="0">
              <a:buNone/>
              <a:defRPr sz="1800" b="1"/>
            </a:lvl1pPr>
            <a:lvl2pPr marL="342872" indent="0">
              <a:buNone/>
              <a:defRPr sz="1500" b="1"/>
            </a:lvl2pPr>
            <a:lvl3pPr marL="685743" indent="0">
              <a:buNone/>
              <a:defRPr sz="1350" b="1"/>
            </a:lvl3pPr>
            <a:lvl4pPr marL="1028615" indent="0">
              <a:buNone/>
              <a:defRPr sz="1200" b="1"/>
            </a:lvl4pPr>
            <a:lvl5pPr marL="1371486" indent="0">
              <a:buNone/>
              <a:defRPr sz="1200" b="1"/>
            </a:lvl5pPr>
            <a:lvl6pPr marL="1714358" indent="0">
              <a:buNone/>
              <a:defRPr sz="1200" b="1"/>
            </a:lvl6pPr>
            <a:lvl7pPr marL="2057229" indent="0">
              <a:buNone/>
              <a:defRPr sz="1200" b="1"/>
            </a:lvl7pPr>
            <a:lvl8pPr marL="2400100" indent="0">
              <a:buNone/>
              <a:defRPr sz="1200" b="1"/>
            </a:lvl8pPr>
            <a:lvl9pPr marL="274297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1631156"/>
            <a:ext cx="3030141" cy="2963466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771" y="1151335"/>
            <a:ext cx="3031331" cy="479822"/>
          </a:xfrm>
          <a:prstGeom prst="rect">
            <a:avLst/>
          </a:prstGeom>
        </p:spPr>
        <p:txBody>
          <a:bodyPr lIns="91432" tIns="45716" rIns="91432" bIns="45716" anchor="b"/>
          <a:lstStyle>
            <a:lvl1pPr marL="0" indent="0">
              <a:buNone/>
              <a:defRPr sz="1800" b="1"/>
            </a:lvl1pPr>
            <a:lvl2pPr marL="342872" indent="0">
              <a:buNone/>
              <a:defRPr sz="1500" b="1"/>
            </a:lvl2pPr>
            <a:lvl3pPr marL="685743" indent="0">
              <a:buNone/>
              <a:defRPr sz="1350" b="1"/>
            </a:lvl3pPr>
            <a:lvl4pPr marL="1028615" indent="0">
              <a:buNone/>
              <a:defRPr sz="1200" b="1"/>
            </a:lvl4pPr>
            <a:lvl5pPr marL="1371486" indent="0">
              <a:buNone/>
              <a:defRPr sz="1200" b="1"/>
            </a:lvl5pPr>
            <a:lvl6pPr marL="1714358" indent="0">
              <a:buNone/>
              <a:defRPr sz="1200" b="1"/>
            </a:lvl6pPr>
            <a:lvl7pPr marL="2057229" indent="0">
              <a:buNone/>
              <a:defRPr sz="1200" b="1"/>
            </a:lvl7pPr>
            <a:lvl8pPr marL="2400100" indent="0">
              <a:buNone/>
              <a:defRPr sz="1200" b="1"/>
            </a:lvl8pPr>
            <a:lvl9pPr marL="274297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771" y="1631156"/>
            <a:ext cx="3031331" cy="2963466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F6B63-3905-2147-A351-2FD5196605C2}" type="datetime1">
              <a:rPr lang="en-US" smtClean="0"/>
              <a:t>10/1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24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205979"/>
            <a:ext cx="6172200" cy="857250"/>
          </a:xfrm>
          <a:prstGeom prst="rect">
            <a:avLst/>
          </a:prstGeom>
        </p:spPr>
        <p:txBody>
          <a:bodyPr lIns="91432" tIns="45716" rIns="91432" bIns="45716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9771C-EB00-3745-9E59-D9D5DC2426B4}" type="datetime1">
              <a:rPr lang="en-US" smtClean="0"/>
              <a:t>10/1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7129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5CC53-8BCA-EB4C-AFE9-E1CDDF3A89CB}" type="datetime1">
              <a:rPr lang="en-US" smtClean="0"/>
              <a:t>10/1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224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3" y="204787"/>
            <a:ext cx="2256235" cy="871538"/>
          </a:xfrm>
          <a:prstGeom prst="rect">
            <a:avLst/>
          </a:prstGeom>
        </p:spPr>
        <p:txBody>
          <a:bodyPr lIns="91432" tIns="45716" rIns="91432" bIns="45716"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287" y="204791"/>
            <a:ext cx="3833813" cy="4389835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3" y="1076328"/>
            <a:ext cx="2256235" cy="3518297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buNone/>
              <a:defRPr sz="1050"/>
            </a:lvl1pPr>
            <a:lvl2pPr marL="342872" indent="0">
              <a:buNone/>
              <a:defRPr sz="900"/>
            </a:lvl2pPr>
            <a:lvl3pPr marL="685743" indent="0">
              <a:buNone/>
              <a:defRPr sz="750"/>
            </a:lvl3pPr>
            <a:lvl4pPr marL="1028615" indent="0">
              <a:buNone/>
              <a:defRPr sz="675"/>
            </a:lvl4pPr>
            <a:lvl5pPr marL="1371486" indent="0">
              <a:buNone/>
              <a:defRPr sz="675"/>
            </a:lvl5pPr>
            <a:lvl6pPr marL="1714358" indent="0">
              <a:buNone/>
              <a:defRPr sz="675"/>
            </a:lvl6pPr>
            <a:lvl7pPr marL="2057229" indent="0">
              <a:buNone/>
              <a:defRPr sz="675"/>
            </a:lvl7pPr>
            <a:lvl8pPr marL="2400100" indent="0">
              <a:buNone/>
              <a:defRPr sz="675"/>
            </a:lvl8pPr>
            <a:lvl9pPr marL="274297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B5F109-2827-434E-B7BD-F8CC8AB46C45}" type="datetime1">
              <a:rPr lang="en-US" smtClean="0"/>
              <a:t>10/1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6B1FF6-39B9-40F5-8B67-33C6354A3D4F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accent3">
                  <a:shade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220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216" y="3600451"/>
            <a:ext cx="4114800" cy="425054"/>
          </a:xfrm>
          <a:prstGeom prst="rect">
            <a:avLst/>
          </a:prstGeom>
        </p:spPr>
        <p:txBody>
          <a:bodyPr lIns="91432" tIns="45716" rIns="91432" bIns="45716"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216" y="459581"/>
            <a:ext cx="4114800" cy="3086100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buNone/>
              <a:defRPr sz="2400"/>
            </a:lvl1pPr>
            <a:lvl2pPr marL="342872" indent="0">
              <a:buNone/>
              <a:defRPr sz="2100"/>
            </a:lvl2pPr>
            <a:lvl3pPr marL="685743" indent="0">
              <a:buNone/>
              <a:defRPr sz="1800"/>
            </a:lvl3pPr>
            <a:lvl4pPr marL="1028615" indent="0">
              <a:buNone/>
              <a:defRPr sz="1500"/>
            </a:lvl4pPr>
            <a:lvl5pPr marL="1371486" indent="0">
              <a:buNone/>
              <a:defRPr sz="1500"/>
            </a:lvl5pPr>
            <a:lvl6pPr marL="1714358" indent="0">
              <a:buNone/>
              <a:defRPr sz="1500"/>
            </a:lvl6pPr>
            <a:lvl7pPr marL="2057229" indent="0">
              <a:buNone/>
              <a:defRPr sz="1500"/>
            </a:lvl7pPr>
            <a:lvl8pPr marL="2400100" indent="0">
              <a:buNone/>
              <a:defRPr sz="1500"/>
            </a:lvl8pPr>
            <a:lvl9pPr marL="2742972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216" y="4025506"/>
            <a:ext cx="4114800" cy="603647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buNone/>
              <a:defRPr sz="1050"/>
            </a:lvl1pPr>
            <a:lvl2pPr marL="342872" indent="0">
              <a:buNone/>
              <a:defRPr sz="900"/>
            </a:lvl2pPr>
            <a:lvl3pPr marL="685743" indent="0">
              <a:buNone/>
              <a:defRPr sz="750"/>
            </a:lvl3pPr>
            <a:lvl4pPr marL="1028615" indent="0">
              <a:buNone/>
              <a:defRPr sz="675"/>
            </a:lvl4pPr>
            <a:lvl5pPr marL="1371486" indent="0">
              <a:buNone/>
              <a:defRPr sz="675"/>
            </a:lvl5pPr>
            <a:lvl6pPr marL="1714358" indent="0">
              <a:buNone/>
              <a:defRPr sz="675"/>
            </a:lvl6pPr>
            <a:lvl7pPr marL="2057229" indent="0">
              <a:buNone/>
              <a:defRPr sz="675"/>
            </a:lvl7pPr>
            <a:lvl8pPr marL="2400100" indent="0">
              <a:buNone/>
              <a:defRPr sz="675"/>
            </a:lvl8pPr>
            <a:lvl9pPr marL="2742972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9F9694-8D90-7747-B4FA-514FA2835E72}" type="datetime1">
              <a:rPr lang="en-US" smtClean="0"/>
              <a:t>10/1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5983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04358959"/>
              </p:ext>
            </p:extLst>
          </p:nvPr>
        </p:nvGraphicFramePr>
        <p:xfrm>
          <a:off x="1193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3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2900" y="4767264"/>
            <a:ext cx="1600200" cy="273844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03F154-2F17-654B-884F-6C1A3A53A30A}" type="datetime1">
              <a:rPr lang="en-US" smtClean="0"/>
              <a:t>10/1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43150" y="4767264"/>
            <a:ext cx="2171700" cy="273844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998721" y="4851560"/>
            <a:ext cx="1600200" cy="273844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  <a:latin typeface="STC-Regular"/>
                <a:cs typeface="STC-Regular"/>
              </a:defRPr>
            </a:lvl1pPr>
          </a:lstStyle>
          <a:p>
            <a:fld id="{2066355A-084C-D24E-9AD2-7E4FC41EA627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62467" y="4928215"/>
            <a:ext cx="6290733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217287" y="4896614"/>
            <a:ext cx="731604" cy="141960"/>
          </a:xfrm>
          <a:prstGeom prst="rect">
            <a:avLst/>
          </a:prstGeom>
          <a:noFill/>
        </p:spPr>
        <p:txBody>
          <a:bodyPr wrap="none" lIns="68577" tIns="34289" rIns="68577" bIns="34289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x-none" sz="525" dirty="0">
                <a:solidFill>
                  <a:schemeClr val="bg1">
                    <a:lumMod val="50000"/>
                  </a:schemeClr>
                </a:solidFill>
                <a:latin typeface="STC-Medium"/>
                <a:ea typeface="MS Gothic" charset="-128"/>
                <a:cs typeface="STC-Medium"/>
              </a:rPr>
              <a:t>STC Cyber Security</a:t>
            </a: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  <p:sldLayoutId id="2147493458" r:id="rId3"/>
    <p:sldLayoutId id="2147493459" r:id="rId4"/>
    <p:sldLayoutId id="2147493460" r:id="rId5"/>
    <p:sldLayoutId id="2147493461" r:id="rId6"/>
    <p:sldLayoutId id="2147493462" r:id="rId7"/>
    <p:sldLayoutId id="2147493463" r:id="rId8"/>
    <p:sldLayoutId id="2147493464" r:id="rId9"/>
    <p:sldLayoutId id="2147493465" r:id="rId10"/>
    <p:sldLayoutId id="2147493466" r:id="rId11"/>
  </p:sldLayoutIdLst>
  <p:hf hdr="0" ftr="0" dt="0"/>
  <p:txStyles>
    <p:titleStyle>
      <a:lvl1pPr algn="ctr" defTabSz="342872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53" indent="-257153" algn="l" defTabSz="34287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66" indent="-214295" algn="l" defTabSz="342872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78" indent="-171437" algn="l" defTabSz="342872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51" indent="-171437" algn="l" defTabSz="342872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21" indent="-171437" algn="l" defTabSz="342872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93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64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36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07" indent="-171437" algn="l" defTabSz="34287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2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3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15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86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58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29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00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72" algn="l" defTabSz="34287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cyber.lockheedmartin.com/hubfs/docs/Technical_Papers/wp-seven-ways-to-apply-the-cyber-kill-chain-with-a-threat-intelligence-platform.pdf?t=1457726192514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emf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88140" y="4292918"/>
            <a:ext cx="6366814" cy="1295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AutoShape 2" descr="Image result for civil defense saudi"/>
          <p:cNvSpPr>
            <a:spLocks noChangeAspect="1" noChangeArrowheads="1"/>
          </p:cNvSpPr>
          <p:nvPr/>
        </p:nvSpPr>
        <p:spPr bwMode="auto">
          <a:xfrm>
            <a:off x="116681" y="534591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4" tIns="34287" rIns="68574" bIns="34287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25554"/>
          <a:stretch/>
        </p:blipFill>
        <p:spPr>
          <a:xfrm>
            <a:off x="188140" y="698419"/>
            <a:ext cx="1864023" cy="380214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7648" y="3318534"/>
            <a:ext cx="616325" cy="561783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1422247" y="3918496"/>
            <a:ext cx="2801726" cy="0"/>
          </a:xfrm>
          <a:prstGeom prst="line">
            <a:avLst/>
          </a:prstGeom>
          <a:ln w="38100" cmpd="sng">
            <a:solidFill>
              <a:srgbClr val="5C1A6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2123622" y="1650774"/>
            <a:ext cx="4757738" cy="1842037"/>
          </a:xfrm>
          <a:prstGeom prst="rect">
            <a:avLst/>
          </a:prstGeom>
          <a:noFill/>
        </p:spPr>
        <p:txBody>
          <a:bodyPr wrap="square" lIns="68574" tIns="34287" rIns="68574" bIns="34287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3600" dirty="0">
                <a:solidFill>
                  <a:srgbClr val="5C1A6E"/>
                </a:solidFill>
                <a:latin typeface="STC-Medium"/>
                <a:cs typeface="STC-Medium"/>
              </a:rPr>
              <a:t>Intelligence Driven Defense, </a:t>
            </a:r>
            <a:br>
              <a:rPr lang="en-US" sz="3600" dirty="0">
                <a:solidFill>
                  <a:srgbClr val="5C1A6E"/>
                </a:solidFill>
                <a:latin typeface="STC-Medium"/>
                <a:cs typeface="STC-Medium"/>
              </a:rPr>
            </a:br>
            <a:r>
              <a:rPr lang="en-US" sz="3600" dirty="0">
                <a:solidFill>
                  <a:srgbClr val="5C1A6E"/>
                </a:solidFill>
                <a:latin typeface="STC-Medium"/>
                <a:cs typeface="STC-Medium"/>
              </a:rPr>
              <a:t>The Next Generation SOC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424347" y="3556766"/>
            <a:ext cx="1130607" cy="305860"/>
          </a:xfrm>
          <a:prstGeom prst="rect">
            <a:avLst/>
          </a:prstGeom>
          <a:noFill/>
        </p:spPr>
        <p:txBody>
          <a:bodyPr wrap="square" lIns="51440" tIns="25721" rIns="51440" bIns="25721" rtlCol="0">
            <a:spAutoFit/>
          </a:bodyPr>
          <a:lstStyle/>
          <a:p>
            <a:pPr algn="r"/>
            <a:r>
              <a:rPr lang="en-US" sz="825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Abdulrahman Al-Manea</a:t>
            </a:r>
          </a:p>
          <a:p>
            <a:pPr algn="r"/>
            <a:r>
              <a:rPr lang="en-US" sz="825" dirty="0">
                <a:solidFill>
                  <a:prstClr val="black">
                    <a:lumMod val="50000"/>
                    <a:lumOff val="50000"/>
                  </a:prstClr>
                </a:solidFill>
                <a:latin typeface="Calibri"/>
              </a:rPr>
              <a:t>aalmanea@stcs.com.sa </a:t>
            </a:r>
            <a:endParaRPr lang="en-US" sz="825" dirty="0">
              <a:solidFill>
                <a:prstClr val="black">
                  <a:lumMod val="50000"/>
                  <a:lumOff val="50000"/>
                </a:prstClr>
              </a:solidFill>
              <a:latin typeface="Calibri" panose="020F0502020204030204" pitchFamily="34" charset="0"/>
              <a:ea typeface="BatangChe" panose="02030609000101010101" pitchFamily="49" charset="-127"/>
              <a:cs typeface="STC" panose="01000500000000020006" pitchFamily="2" charset="-78"/>
            </a:endParaRPr>
          </a:p>
        </p:txBody>
      </p:sp>
      <p:pic>
        <p:nvPicPr>
          <p:cNvPr id="18434" name="Picture 2" descr="Image result for stc business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217" y="26673"/>
            <a:ext cx="1716783" cy="110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715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33606" y="515061"/>
          <a:ext cx="4388165" cy="4141911"/>
        </p:xfrm>
        <a:graphic>
          <a:graphicData uri="http://schemas.openxmlformats.org/drawingml/2006/table">
            <a:tbl>
              <a:tblPr firstRow="1" bandRow="1"/>
              <a:tblGrid>
                <a:gridCol w="7681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099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80999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118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A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B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68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Rec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A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newsLetter.pdf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B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CV.pdf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4066">
                <a:tc rowSpan="2"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Weaponi-zati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6550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1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1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5682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Delivery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9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Newsletter Update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Candidate Employee</a:t>
                      </a:r>
                      <a:endParaRPr lang="en-GB" sz="9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4223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m@Gmail.com 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m@Gmail.com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0784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x.x.7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.x.x.33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12402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Exploit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VE-2015-0531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VE-2016-01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86234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Install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e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e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576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2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79278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Actions on Objectives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3977" y="3417342"/>
            <a:ext cx="297383" cy="29738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 rot="5400000">
            <a:off x="2887686" y="2815247"/>
            <a:ext cx="1869211" cy="179895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1068149" y="2215195"/>
            <a:ext cx="3653622" cy="315590"/>
          </a:xfrm>
          <a:prstGeom prst="rect">
            <a:avLst/>
          </a:prstGeom>
          <a:noFill/>
          <a:ln w="2222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Rectangle 7"/>
          <p:cNvSpPr/>
          <p:nvPr/>
        </p:nvSpPr>
        <p:spPr>
          <a:xfrm>
            <a:off x="1080252" y="3186745"/>
            <a:ext cx="3653622" cy="988745"/>
          </a:xfrm>
          <a:prstGeom prst="rect">
            <a:avLst/>
          </a:prstGeom>
          <a:noFill/>
          <a:ln w="2222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Rounded Rectangle 8"/>
          <p:cNvSpPr/>
          <p:nvPr/>
        </p:nvSpPr>
        <p:spPr>
          <a:xfrm>
            <a:off x="4809881" y="3499755"/>
            <a:ext cx="1119560" cy="27214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b="1" dirty="0"/>
              <a:t>Attribu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860" y="2222527"/>
            <a:ext cx="297383" cy="29738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1360" y="2233401"/>
            <a:ext cx="275635" cy="27563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5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 smtClean="0">
                <a:solidFill>
                  <a:srgbClr val="000000"/>
                </a:solidFill>
                <a:latin typeface="STC-Medium"/>
                <a:cs typeface="STC-Medium"/>
              </a:rPr>
              <a:t>Attack Scenario</a:t>
            </a:r>
            <a:endParaRPr lang="en-US" sz="1350" dirty="0">
              <a:solidFill>
                <a:srgbClr val="000000"/>
              </a:solidFill>
              <a:latin typeface="STC-Medium"/>
              <a:cs typeface="STC-Medium"/>
            </a:endParaRPr>
          </a:p>
        </p:txBody>
      </p:sp>
    </p:spTree>
    <p:extLst>
      <p:ext uri="{BB962C8B-B14F-4D97-AF65-F5344CB8AC3E}">
        <p14:creationId xmlns:p14="http://schemas.microsoft.com/office/powerpoint/2010/main" val="3563524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333607" y="515061"/>
          <a:ext cx="6198162" cy="4141911"/>
        </p:xfrm>
        <a:graphic>
          <a:graphicData uri="http://schemas.openxmlformats.org/drawingml/2006/table">
            <a:tbl>
              <a:tblPr firstRow="1" bandRow="1"/>
              <a:tblGrid>
                <a:gridCol w="7681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0999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0999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0999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118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A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B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C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68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Rec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A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newsLetter.pdf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B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CV.pdf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C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NewBusiness.PPT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4066">
                <a:tc rowSpan="2"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Weaponi-zati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6550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1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1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2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5682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Delivery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9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Newsletter Update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Candidate Employee</a:t>
                      </a:r>
                      <a:endParaRPr lang="en-GB" sz="9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New Business Opportunity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4223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m@Gmail.com 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m@Gmail.com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ob@Gmail.com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0784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x.x.7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.x.x.33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0.x.x.33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2402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Exploit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VE-2015-0531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VE-2016-01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PT 0-day vulnerability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86234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Install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e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e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e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0576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2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79278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Actions on Objectives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046" y="3435549"/>
            <a:ext cx="297383" cy="29738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227" y="2220253"/>
            <a:ext cx="297383" cy="29738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94918" y="2488299"/>
            <a:ext cx="3653622" cy="291314"/>
          </a:xfrm>
          <a:prstGeom prst="rect">
            <a:avLst/>
          </a:prstGeom>
          <a:noFill/>
          <a:ln w="22225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767" y="2477425"/>
            <a:ext cx="297383" cy="29738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0267" y="2488299"/>
            <a:ext cx="275635" cy="275635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4535836" y="2826718"/>
            <a:ext cx="1842711" cy="292763"/>
          </a:xfrm>
          <a:prstGeom prst="ellipse">
            <a:avLst/>
          </a:prstGeom>
          <a:noFill/>
          <a:ln w="28575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TextBox 5"/>
          <p:cNvSpPr txBox="1"/>
          <p:nvPr/>
        </p:nvSpPr>
        <p:spPr>
          <a:xfrm rot="5400000">
            <a:off x="4711167" y="2846939"/>
            <a:ext cx="1869211" cy="177198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12" name="TextBox 11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 smtClean="0">
                <a:solidFill>
                  <a:srgbClr val="000000"/>
                </a:solidFill>
                <a:latin typeface="STC-Medium"/>
                <a:cs typeface="STC-Medium"/>
              </a:rPr>
              <a:t>Attack Scenario</a:t>
            </a:r>
            <a:endParaRPr lang="en-US" sz="1350" dirty="0">
              <a:solidFill>
                <a:srgbClr val="000000"/>
              </a:solidFill>
              <a:latin typeface="STC-Medium"/>
              <a:cs typeface="STC-Medium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356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262"/>
          <a:stretch/>
        </p:blipFill>
        <p:spPr>
          <a:xfrm>
            <a:off x="1641286" y="1351344"/>
            <a:ext cx="2414776" cy="750912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1286" y="1351344"/>
            <a:ext cx="2414776" cy="2707148"/>
          </a:xfrm>
          <a:prstGeom prst="rect">
            <a:avLst/>
          </a:prstGeom>
          <a:ln w="127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35" name="Group 34"/>
          <p:cNvGrpSpPr/>
          <p:nvPr/>
        </p:nvGrpSpPr>
        <p:grpSpPr>
          <a:xfrm>
            <a:off x="3004784" y="1650925"/>
            <a:ext cx="2284499" cy="194301"/>
            <a:chOff x="6873390" y="1905212"/>
            <a:chExt cx="3623995" cy="319069"/>
          </a:xfrm>
        </p:grpSpPr>
        <p:sp>
          <p:nvSpPr>
            <p:cNvPr id="36" name="Rectangle 35"/>
            <p:cNvSpPr/>
            <p:nvPr/>
          </p:nvSpPr>
          <p:spPr>
            <a:xfrm>
              <a:off x="8808171" y="1905212"/>
              <a:ext cx="1689214" cy="31906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b="1" dirty="0">
                  <a:solidFill>
                    <a:schemeClr val="tx1"/>
                  </a:solidFill>
                </a:rPr>
                <a:t>Email Analysis</a:t>
              </a: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6873390" y="2041374"/>
              <a:ext cx="1934781" cy="122326"/>
              <a:chOff x="3919278" y="4391452"/>
              <a:chExt cx="1934781" cy="122326"/>
            </a:xfrm>
          </p:grpSpPr>
          <p:cxnSp>
            <p:nvCxnSpPr>
              <p:cNvPr id="40" name="Straight Connector 39"/>
              <p:cNvCxnSpPr>
                <a:stCxn id="36" idx="1"/>
                <a:endCxn id="41" idx="6"/>
              </p:cNvCxnSpPr>
              <p:nvPr/>
            </p:nvCxnSpPr>
            <p:spPr>
              <a:xfrm flipH="1">
                <a:off x="4041604" y="4414825"/>
                <a:ext cx="1812455" cy="37790"/>
              </a:xfrm>
              <a:prstGeom prst="lin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1" name="Oval 40"/>
              <p:cNvSpPr/>
              <p:nvPr/>
            </p:nvSpPr>
            <p:spPr>
              <a:xfrm>
                <a:off x="3919278" y="4391452"/>
                <a:ext cx="122326" cy="122326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3175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88" b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2" name="Group 41"/>
          <p:cNvGrpSpPr/>
          <p:nvPr/>
        </p:nvGrpSpPr>
        <p:grpSpPr>
          <a:xfrm>
            <a:off x="3375542" y="2210175"/>
            <a:ext cx="2177330" cy="201446"/>
            <a:chOff x="6873390" y="1972946"/>
            <a:chExt cx="3870809" cy="358127"/>
          </a:xfrm>
        </p:grpSpPr>
        <p:sp>
          <p:nvSpPr>
            <p:cNvPr id="43" name="Rectangle 42"/>
            <p:cNvSpPr/>
            <p:nvPr/>
          </p:nvSpPr>
          <p:spPr>
            <a:xfrm>
              <a:off x="8825678" y="1972946"/>
              <a:ext cx="1918521" cy="3581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b="1" dirty="0">
                  <a:solidFill>
                    <a:schemeClr val="tx1"/>
                  </a:solidFill>
                </a:rPr>
                <a:t>Dynamic Analysis</a:t>
              </a: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6873390" y="2091426"/>
              <a:ext cx="1952288" cy="122326"/>
              <a:chOff x="3919278" y="4441504"/>
              <a:chExt cx="1952288" cy="122326"/>
            </a:xfrm>
          </p:grpSpPr>
          <p:cxnSp>
            <p:nvCxnSpPr>
              <p:cNvPr id="45" name="Straight Connector 44"/>
              <p:cNvCxnSpPr>
                <a:stCxn id="43" idx="1"/>
                <a:endCxn id="46" idx="6"/>
              </p:cNvCxnSpPr>
              <p:nvPr/>
            </p:nvCxnSpPr>
            <p:spPr>
              <a:xfrm flipH="1">
                <a:off x="4041604" y="4502088"/>
                <a:ext cx="1829962" cy="579"/>
              </a:xfrm>
              <a:prstGeom prst="lin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6" name="Oval 45"/>
              <p:cNvSpPr/>
              <p:nvPr/>
            </p:nvSpPr>
            <p:spPr>
              <a:xfrm>
                <a:off x="3919278" y="4441504"/>
                <a:ext cx="122326" cy="122326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88" b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7" name="Group 46"/>
          <p:cNvGrpSpPr/>
          <p:nvPr/>
        </p:nvGrpSpPr>
        <p:grpSpPr>
          <a:xfrm>
            <a:off x="3691510" y="2710252"/>
            <a:ext cx="2177330" cy="201446"/>
            <a:chOff x="6873390" y="1972946"/>
            <a:chExt cx="3870809" cy="358127"/>
          </a:xfrm>
        </p:grpSpPr>
        <p:sp>
          <p:nvSpPr>
            <p:cNvPr id="48" name="Rectangle 47"/>
            <p:cNvSpPr/>
            <p:nvPr/>
          </p:nvSpPr>
          <p:spPr>
            <a:xfrm>
              <a:off x="8825678" y="1972946"/>
              <a:ext cx="1918521" cy="3581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b="1" dirty="0">
                  <a:solidFill>
                    <a:schemeClr val="tx1"/>
                  </a:solidFill>
                </a:rPr>
                <a:t>Static Analysis</a:t>
              </a: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6873390" y="2091426"/>
              <a:ext cx="1952288" cy="122326"/>
              <a:chOff x="3919278" y="4441504"/>
              <a:chExt cx="1952288" cy="122326"/>
            </a:xfrm>
          </p:grpSpPr>
          <p:cxnSp>
            <p:nvCxnSpPr>
              <p:cNvPr id="50" name="Straight Connector 49"/>
              <p:cNvCxnSpPr>
                <a:stCxn id="48" idx="1"/>
                <a:endCxn id="51" idx="6"/>
              </p:cNvCxnSpPr>
              <p:nvPr/>
            </p:nvCxnSpPr>
            <p:spPr>
              <a:xfrm flipH="1">
                <a:off x="4041604" y="4502088"/>
                <a:ext cx="1829962" cy="579"/>
              </a:xfrm>
              <a:prstGeom prst="lin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1" name="Oval 50"/>
              <p:cNvSpPr/>
              <p:nvPr/>
            </p:nvSpPr>
            <p:spPr>
              <a:xfrm>
                <a:off x="3919278" y="4441504"/>
                <a:ext cx="122326" cy="122326"/>
              </a:xfrm>
              <a:prstGeom prst="ellipse">
                <a:avLst/>
              </a:prstGeom>
              <a:solidFill>
                <a:schemeClr val="accent1"/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88" b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2" name="Group 51"/>
          <p:cNvGrpSpPr/>
          <p:nvPr/>
        </p:nvGrpSpPr>
        <p:grpSpPr>
          <a:xfrm>
            <a:off x="3383162" y="3205679"/>
            <a:ext cx="2177330" cy="201446"/>
            <a:chOff x="6873390" y="1972946"/>
            <a:chExt cx="3870809" cy="358127"/>
          </a:xfrm>
        </p:grpSpPr>
        <p:sp>
          <p:nvSpPr>
            <p:cNvPr id="53" name="Rectangle 52"/>
            <p:cNvSpPr/>
            <p:nvPr/>
          </p:nvSpPr>
          <p:spPr>
            <a:xfrm>
              <a:off x="8825678" y="1972946"/>
              <a:ext cx="1918521" cy="3581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b="1" dirty="0">
                  <a:solidFill>
                    <a:schemeClr val="tx1"/>
                  </a:solidFill>
                </a:rPr>
                <a:t>Code Analysis</a:t>
              </a: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6873390" y="2091426"/>
              <a:ext cx="1952288" cy="122326"/>
              <a:chOff x="3919278" y="4441504"/>
              <a:chExt cx="1952288" cy="122326"/>
            </a:xfrm>
          </p:grpSpPr>
          <p:cxnSp>
            <p:nvCxnSpPr>
              <p:cNvPr id="55" name="Straight Connector 54"/>
              <p:cNvCxnSpPr>
                <a:stCxn id="53" idx="1"/>
                <a:endCxn id="56" idx="6"/>
              </p:cNvCxnSpPr>
              <p:nvPr/>
            </p:nvCxnSpPr>
            <p:spPr>
              <a:xfrm flipH="1">
                <a:off x="4041604" y="4502088"/>
                <a:ext cx="1829962" cy="579"/>
              </a:xfrm>
              <a:prstGeom prst="lin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6" name="Oval 55"/>
              <p:cNvSpPr/>
              <p:nvPr/>
            </p:nvSpPr>
            <p:spPr>
              <a:xfrm>
                <a:off x="3919278" y="4441504"/>
                <a:ext cx="122326" cy="122326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88" b="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57" name="Group 56"/>
          <p:cNvGrpSpPr/>
          <p:nvPr/>
        </p:nvGrpSpPr>
        <p:grpSpPr>
          <a:xfrm>
            <a:off x="3111953" y="3684058"/>
            <a:ext cx="2177330" cy="201446"/>
            <a:chOff x="6873390" y="1972946"/>
            <a:chExt cx="3870809" cy="358127"/>
          </a:xfrm>
        </p:grpSpPr>
        <p:sp>
          <p:nvSpPr>
            <p:cNvPr id="58" name="Rectangle 57"/>
            <p:cNvSpPr/>
            <p:nvPr/>
          </p:nvSpPr>
          <p:spPr>
            <a:xfrm>
              <a:off x="8825678" y="1972946"/>
              <a:ext cx="1918521" cy="35812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88" b="1" dirty="0">
                  <a:solidFill>
                    <a:schemeClr val="tx1"/>
                  </a:solidFill>
                </a:rPr>
                <a:t>Code Comparison</a:t>
              </a:r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6873390" y="2091426"/>
              <a:ext cx="1952289" cy="122326"/>
              <a:chOff x="3919278" y="4441504"/>
              <a:chExt cx="1952289" cy="122326"/>
            </a:xfrm>
          </p:grpSpPr>
          <p:cxnSp>
            <p:nvCxnSpPr>
              <p:cNvPr id="60" name="Straight Connector 59"/>
              <p:cNvCxnSpPr>
                <a:stCxn id="58" idx="1"/>
                <a:endCxn id="61" idx="6"/>
              </p:cNvCxnSpPr>
              <p:nvPr/>
            </p:nvCxnSpPr>
            <p:spPr>
              <a:xfrm flipH="1">
                <a:off x="4041605" y="4502089"/>
                <a:ext cx="1829962" cy="579"/>
              </a:xfrm>
              <a:prstGeom prst="lin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6350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1" name="Oval 60"/>
              <p:cNvSpPr/>
              <p:nvPr/>
            </p:nvSpPr>
            <p:spPr>
              <a:xfrm>
                <a:off x="3919278" y="4441504"/>
                <a:ext cx="122327" cy="122326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788" b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65" name="Picture 6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6159" y="1356226"/>
            <a:ext cx="769193" cy="727850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5721" y="1907844"/>
            <a:ext cx="769193" cy="727850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7135" y="2440051"/>
            <a:ext cx="782682" cy="740612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478" y="3042646"/>
            <a:ext cx="544999" cy="544999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200" y="3556984"/>
            <a:ext cx="525055" cy="52505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Deep Dive Investigation</a:t>
            </a: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 rotWithShape="1">
          <a:blip r:embed="rId8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530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3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80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3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2" r="140"/>
          <a:stretch/>
        </p:blipFill>
        <p:spPr bwMode="auto">
          <a:xfrm>
            <a:off x="435414" y="723900"/>
            <a:ext cx="5709572" cy="372213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outerShdw dist="35921" dir="2700000" algn="ctr" rotWithShape="0">
              <a:schemeClr val="bg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Shape 64"/>
          <p:cNvSpPr/>
          <p:nvPr/>
        </p:nvSpPr>
        <p:spPr>
          <a:xfrm>
            <a:off x="215794" y="4446033"/>
            <a:ext cx="6235681" cy="1692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38100" tIns="38100" rIns="38100" bIns="3810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 sz="1800" u="none"/>
            </a:pPr>
            <a:r>
              <a:rPr lang="en-US" sz="600" u="sng" dirty="0"/>
              <a:t>Image S</a:t>
            </a:r>
            <a:r>
              <a:rPr lang="en-US" sz="600" u="sng" dirty="0">
                <a:hlinkClick r:id="rId3"/>
              </a:rPr>
              <a:t>ource: </a:t>
            </a:r>
            <a:r>
              <a:rPr sz="600" u="sng" dirty="0">
                <a:hlinkClick r:id="rId3"/>
              </a:rPr>
              <a:t>http</a:t>
            </a:r>
            <a:r>
              <a:rPr sz="600" u="sng" dirty="0">
                <a:hlinkClick r:id="rId3"/>
              </a:rPr>
              <a:t>://cyber.lockheedmartin.com/hubfs/docs/Technical_Papers/wp-seven-ways-to-apply-the-cyber-kill-chain-with-a-threat-intelligence-platform.pdf?t=1457726192514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193886" y="608305"/>
            <a:ext cx="1942088" cy="272143"/>
          </a:xfrm>
          <a:prstGeom prst="round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50" b="1" dirty="0"/>
              <a:t>Campaign Name</a:t>
            </a:r>
            <a:endParaRPr lang="en-US" sz="1350" b="1" dirty="0"/>
          </a:p>
        </p:txBody>
      </p:sp>
      <p:sp>
        <p:nvSpPr>
          <p:cNvPr id="13" name="Rounded Rectangle 12"/>
          <p:cNvSpPr/>
          <p:nvPr/>
        </p:nvSpPr>
        <p:spPr>
          <a:xfrm rot="16200000">
            <a:off x="-671703" y="2179170"/>
            <a:ext cx="1942088" cy="272143"/>
          </a:xfrm>
          <a:prstGeom prst="round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350" b="1" dirty="0"/>
              <a:t>Monthly Statistics</a:t>
            </a:r>
            <a:endParaRPr lang="en-US" sz="135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 smtClean="0">
                <a:solidFill>
                  <a:srgbClr val="000000"/>
                </a:solidFill>
                <a:latin typeface="STC-Medium"/>
                <a:cs typeface="STC-Medium"/>
              </a:rPr>
              <a:t>Campaign Tracking</a:t>
            </a:r>
            <a:endParaRPr lang="en-US" sz="1350" dirty="0">
              <a:solidFill>
                <a:srgbClr val="000000"/>
              </a:solidFill>
              <a:latin typeface="STC-Medium"/>
              <a:cs typeface="STC-Medium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550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9574"/>
            <a:ext cx="6859787" cy="4391025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97775" y="848575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  <a:latin typeface="STC-Medium"/>
                <a:cs typeface="STC-Medium"/>
              </a:rPr>
              <a:t>Conclusion – Dealing with APT</a:t>
            </a:r>
            <a:endParaRPr lang="en-US" sz="1350" dirty="0">
              <a:solidFill>
                <a:schemeClr val="bg1"/>
              </a:solidFill>
              <a:latin typeface="STC-Medium"/>
              <a:cs typeface="STC-Medium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62467" y="805455"/>
            <a:ext cx="6290733" cy="344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8" name="IMG_NeedleStack" descr="needlstack.png"/>
          <p:cNvPicPr>
            <a:picLocks noChangeAspect="1"/>
          </p:cNvPicPr>
          <p:nvPr/>
        </p:nvPicPr>
        <p:blipFill rotWithShape="1">
          <a:blip r:embed="rId3" cstate="print"/>
          <a:srcRect r="10193"/>
          <a:stretch/>
        </p:blipFill>
        <p:spPr>
          <a:xfrm>
            <a:off x="4084971" y="1221007"/>
            <a:ext cx="2712070" cy="2305963"/>
          </a:xfrm>
          <a:prstGeom prst="rect">
            <a:avLst/>
          </a:prstGeom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2" name="Rectangle 1"/>
          <p:cNvSpPr/>
          <p:nvPr/>
        </p:nvSpPr>
        <p:spPr>
          <a:xfrm>
            <a:off x="333606" y="1566155"/>
            <a:ext cx="3906379" cy="23775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buFont typeface="Wingdings" pitchFamily="2" charset="2"/>
              <a:buChar char="§"/>
            </a:pPr>
            <a:r>
              <a:rPr lang="en-US" sz="1350" dirty="0">
                <a:solidFill>
                  <a:schemeClr val="bg1"/>
                </a:solidFill>
              </a:rPr>
              <a:t>Looking for a needle in the needle </a:t>
            </a:r>
            <a:r>
              <a:rPr lang="en-US" sz="1350" dirty="0" smtClean="0">
                <a:solidFill>
                  <a:schemeClr val="bg1"/>
                </a:solidFill>
              </a:rPr>
              <a:t>stack</a:t>
            </a:r>
            <a:endParaRPr lang="en-US" sz="1350" dirty="0">
              <a:solidFill>
                <a:schemeClr val="bg1"/>
              </a:solidFill>
            </a:endParaRPr>
          </a:p>
          <a:p>
            <a:pPr marL="214313" indent="-214313">
              <a:buFont typeface="Wingdings" pitchFamily="2" charset="2"/>
              <a:buChar char="§"/>
            </a:pPr>
            <a:endParaRPr lang="en-US" sz="1350" dirty="0">
              <a:solidFill>
                <a:schemeClr val="bg1"/>
              </a:solidFill>
            </a:endParaRPr>
          </a:p>
          <a:p>
            <a:pPr marL="214313" indent="-214313">
              <a:buFont typeface="Wingdings" pitchFamily="2" charset="2"/>
              <a:buChar char="§"/>
            </a:pPr>
            <a:r>
              <a:rPr lang="en-US" sz="1350" dirty="0">
                <a:solidFill>
                  <a:schemeClr val="bg1"/>
                </a:solidFill>
              </a:rPr>
              <a:t>Traditional </a:t>
            </a:r>
            <a:r>
              <a:rPr lang="en-US" sz="1350" dirty="0">
                <a:solidFill>
                  <a:schemeClr val="bg1"/>
                </a:solidFill>
              </a:rPr>
              <a:t>commercial security products are necessary but </a:t>
            </a:r>
            <a:r>
              <a:rPr lang="en-US" sz="1350" dirty="0">
                <a:solidFill>
                  <a:schemeClr val="bg1"/>
                </a:solidFill>
              </a:rPr>
              <a:t>insufficient !</a:t>
            </a:r>
            <a:endParaRPr lang="en-US" sz="1350" dirty="0">
              <a:solidFill>
                <a:schemeClr val="bg1"/>
              </a:solidFill>
            </a:endParaRPr>
          </a:p>
          <a:p>
            <a:endParaRPr lang="en-US" sz="1350" dirty="0">
              <a:solidFill>
                <a:schemeClr val="bg1"/>
              </a:solidFill>
            </a:endParaRPr>
          </a:p>
          <a:p>
            <a:pPr marL="214313" indent="-214313">
              <a:buFont typeface="Wingdings" pitchFamily="2" charset="2"/>
              <a:buChar char="§"/>
            </a:pPr>
            <a:r>
              <a:rPr lang="en-US" sz="1350" dirty="0">
                <a:solidFill>
                  <a:schemeClr val="bg1"/>
                </a:solidFill>
              </a:rPr>
              <a:t>Sophisticated </a:t>
            </a:r>
            <a:r>
              <a:rPr lang="en-US" sz="1350" dirty="0">
                <a:solidFill>
                  <a:schemeClr val="bg1"/>
                </a:solidFill>
              </a:rPr>
              <a:t>threats demand advanced </a:t>
            </a:r>
            <a:r>
              <a:rPr lang="en-US" sz="1350" dirty="0">
                <a:solidFill>
                  <a:schemeClr val="bg1"/>
                </a:solidFill>
              </a:rPr>
              <a:t>intelligence, which calls for a Next Gen SOC</a:t>
            </a:r>
          </a:p>
          <a:p>
            <a:endParaRPr lang="en-US" sz="1350" b="1" dirty="0">
              <a:solidFill>
                <a:schemeClr val="bg1"/>
              </a:solidFill>
            </a:endParaRPr>
          </a:p>
          <a:p>
            <a:pPr marL="214313" indent="-214313">
              <a:buFont typeface="Wingdings" pitchFamily="2" charset="2"/>
              <a:buChar char="§"/>
            </a:pPr>
            <a:r>
              <a:rPr lang="en-US" sz="1350" b="1" dirty="0">
                <a:solidFill>
                  <a:schemeClr val="bg1"/>
                </a:solidFill>
              </a:rPr>
              <a:t>Implementation of all of your own extracted intelligence, makes it costly for an adversary to launch their next attack!</a:t>
            </a:r>
            <a:r>
              <a:rPr lang="en-US" sz="1350" dirty="0">
                <a:solidFill>
                  <a:schemeClr val="bg1"/>
                </a:solidFill>
              </a:rPr>
              <a:t> </a:t>
            </a:r>
            <a:endParaRPr lang="en-US" sz="13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70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70886" y="2554195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 dirty="0"/>
          </a:p>
        </p:txBody>
      </p:sp>
      <p:sp>
        <p:nvSpPr>
          <p:cNvPr id="6" name="Rectangle 5"/>
          <p:cNvSpPr/>
          <p:nvPr/>
        </p:nvSpPr>
        <p:spPr>
          <a:xfrm>
            <a:off x="2388221" y="2268449"/>
            <a:ext cx="4256867" cy="590931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algn="r">
              <a:lnSpc>
                <a:spcPct val="90000"/>
              </a:lnSpc>
            </a:pPr>
            <a:r>
              <a:rPr lang="en-US" altLang="x-none" sz="3600" b="1" dirty="0">
                <a:solidFill>
                  <a:srgbClr val="5B1564"/>
                </a:solidFill>
                <a:latin typeface="STC"/>
                <a:ea typeface="MS PGothic" charset="-128"/>
                <a:cs typeface="STC"/>
              </a:rPr>
              <a:t>Thank You!</a:t>
            </a:r>
            <a:endParaRPr lang="en-US" sz="3600" b="1" dirty="0">
              <a:solidFill>
                <a:srgbClr val="5B1564"/>
              </a:solidFill>
              <a:latin typeface="STC"/>
              <a:cs typeface="STC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62467" y="4339099"/>
            <a:ext cx="6290733" cy="0"/>
          </a:xfrm>
          <a:prstGeom prst="line">
            <a:avLst/>
          </a:prstGeom>
          <a:ln w="3175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62467" y="770995"/>
            <a:ext cx="6290733" cy="34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19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9574"/>
            <a:ext cx="6859787" cy="439102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97677" y="2697513"/>
            <a:ext cx="6055523" cy="992573"/>
          </a:xfrm>
          <a:prstGeom prst="rect">
            <a:avLst/>
          </a:prstGeom>
          <a:noFill/>
        </p:spPr>
        <p:txBody>
          <a:bodyPr wrap="square" lIns="68574" tIns="34287" rIns="68574" bIns="34287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TC-Regular"/>
                <a:cs typeface="STC-Regular"/>
              </a:rPr>
              <a:t>Compare Security Operations Center (SOC) vs. Next Generation SOC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TC-Regular"/>
                <a:cs typeface="STC-Regular"/>
              </a:rPr>
              <a:t>Explain the Cyber Kill Chain (CKC)® methodology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TC-Regular"/>
                <a:cs typeface="STC-Regular"/>
              </a:rPr>
              <a:t>Demonstrate an attack scenario and map it to CKC®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TC-Regular"/>
                <a:cs typeface="STC-Regular"/>
              </a:rPr>
              <a:t>Show how IDD can help in measuring cyber security capability effectivenes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STC-Regular"/>
                <a:cs typeface="STC-Regular"/>
              </a:rPr>
              <a:t>Present the Campaign Tracking metric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7677" y="1616704"/>
            <a:ext cx="5855498" cy="715574"/>
          </a:xfrm>
          <a:prstGeom prst="rect">
            <a:avLst/>
          </a:prstGeom>
          <a:noFill/>
        </p:spPr>
        <p:txBody>
          <a:bodyPr wrap="square" lIns="68574" tIns="34287" rIns="68574" bIns="34287" rtlCol="0">
            <a:spAutoFit/>
          </a:bodyPr>
          <a:lstStyle/>
          <a:p>
            <a:r>
              <a:rPr lang="en-US" sz="1050" dirty="0">
                <a:solidFill>
                  <a:schemeClr val="bg1"/>
                </a:solidFill>
                <a:latin typeface="STC-Regular"/>
                <a:cs typeface="STC-Regular"/>
              </a:rPr>
              <a:t>To explain what an Intelligence Driven Defense (IDD) approach is, in relation to the Cyber Kill Chain (CKC)®, and how it plays an effective role in thwarting Advance Persistent Threats (APTs) for a Next Generation SOC. </a:t>
            </a:r>
          </a:p>
          <a:p>
            <a:endParaRPr lang="en-US" sz="1050" dirty="0">
              <a:latin typeface="STC-Regular"/>
              <a:cs typeface="STC-Regular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7775" y="848575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  <a:latin typeface="STC-Medium"/>
                <a:cs typeface="STC-Medium"/>
              </a:rPr>
              <a:t>Objectives and Agend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62467" y="805455"/>
            <a:ext cx="6290733" cy="344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929010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SOC Vs Next Gen SOC (IDD)</a:t>
            </a:r>
          </a:p>
        </p:txBody>
      </p:sp>
      <p:sp>
        <p:nvSpPr>
          <p:cNvPr id="3" name="Rectangle 2"/>
          <p:cNvSpPr/>
          <p:nvPr/>
        </p:nvSpPr>
        <p:spPr>
          <a:xfrm>
            <a:off x="373402" y="834344"/>
            <a:ext cx="2942082" cy="442913"/>
          </a:xfrm>
          <a:prstGeom prst="rect">
            <a:avLst/>
          </a:prstGeom>
          <a:solidFill>
            <a:srgbClr val="EFAC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SOC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11093" y="834344"/>
            <a:ext cx="2942082" cy="442913"/>
          </a:xfrm>
          <a:prstGeom prst="rect">
            <a:avLst/>
          </a:prstGeom>
          <a:solidFill>
            <a:srgbClr val="DA3E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Next Gen SO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73402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Monitor security infrastructure alerts, heavily dependent on default system alerts with minor customiz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11093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/>
              <a:t>Proactively</a:t>
            </a:r>
            <a:r>
              <a:rPr lang="en-US" sz="900" dirty="0"/>
              <a:t> respond to cyber security incidents, heavily dependent on analyst customized </a:t>
            </a:r>
            <a:r>
              <a:rPr lang="en-US" sz="900" dirty="0" err="1"/>
              <a:t>rulesets</a:t>
            </a:r>
            <a:r>
              <a:rPr lang="en-US" sz="900" dirty="0"/>
              <a:t> and signatures</a:t>
            </a:r>
          </a:p>
        </p:txBody>
      </p:sp>
    </p:spTree>
    <p:extLst>
      <p:ext uri="{BB962C8B-B14F-4D97-AF65-F5344CB8AC3E}">
        <p14:creationId xmlns:p14="http://schemas.microsoft.com/office/powerpoint/2010/main" val="37029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SOC Vs Next Gen SOC (IDD)</a:t>
            </a:r>
          </a:p>
        </p:txBody>
      </p:sp>
      <p:sp>
        <p:nvSpPr>
          <p:cNvPr id="3" name="Rectangle 2"/>
          <p:cNvSpPr/>
          <p:nvPr/>
        </p:nvSpPr>
        <p:spPr>
          <a:xfrm>
            <a:off x="373402" y="834344"/>
            <a:ext cx="2942082" cy="442913"/>
          </a:xfrm>
          <a:prstGeom prst="rect">
            <a:avLst/>
          </a:prstGeom>
          <a:solidFill>
            <a:srgbClr val="EFAC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SOC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11093" y="834344"/>
            <a:ext cx="2942082" cy="442913"/>
          </a:xfrm>
          <a:prstGeom prst="rect">
            <a:avLst/>
          </a:prstGeom>
          <a:solidFill>
            <a:srgbClr val="DA3E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Next Gen SO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73402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Monitor security infrastructure alerts, heavily dependent on default system alerts with minor customiz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11093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/>
              <a:t>Proactively</a:t>
            </a:r>
            <a:r>
              <a:rPr lang="en-US" sz="900" dirty="0"/>
              <a:t> respond to cyber security incidents, heavily dependent on analyst customized </a:t>
            </a:r>
            <a:r>
              <a:rPr lang="en-US" sz="900" dirty="0" err="1"/>
              <a:t>rulesets</a:t>
            </a:r>
            <a:r>
              <a:rPr lang="en-US" sz="900" dirty="0"/>
              <a:t> and signatures</a:t>
            </a:r>
          </a:p>
        </p:txBody>
      </p:sp>
      <p:sp>
        <p:nvSpPr>
          <p:cNvPr id="8" name="Rectangle 7"/>
          <p:cNvSpPr/>
          <p:nvPr/>
        </p:nvSpPr>
        <p:spPr>
          <a:xfrm>
            <a:off x="373402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cident resolution and ticket closure </a:t>
            </a:r>
          </a:p>
          <a:p>
            <a:r>
              <a:rPr lang="en-US" sz="900" dirty="0"/>
              <a:t>i.e., a malware infected PC would get isolated and re-imaged as a resolu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411093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telligence gathering, documentation, deployment, and intel sharing</a:t>
            </a:r>
          </a:p>
          <a:p>
            <a:r>
              <a:rPr lang="en-US" sz="900" dirty="0"/>
              <a:t>i.e., a malware infected PC would be analyzed forensically, reverse engineered, </a:t>
            </a:r>
          </a:p>
        </p:txBody>
      </p:sp>
    </p:spTree>
    <p:extLst>
      <p:ext uri="{BB962C8B-B14F-4D97-AF65-F5344CB8AC3E}">
        <p14:creationId xmlns:p14="http://schemas.microsoft.com/office/powerpoint/2010/main" val="3451991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SOC Vs Next Gen SOC (IDD)</a:t>
            </a:r>
          </a:p>
        </p:txBody>
      </p:sp>
      <p:sp>
        <p:nvSpPr>
          <p:cNvPr id="3" name="Rectangle 2"/>
          <p:cNvSpPr/>
          <p:nvPr/>
        </p:nvSpPr>
        <p:spPr>
          <a:xfrm>
            <a:off x="373402" y="834344"/>
            <a:ext cx="2942082" cy="442913"/>
          </a:xfrm>
          <a:prstGeom prst="rect">
            <a:avLst/>
          </a:prstGeom>
          <a:solidFill>
            <a:srgbClr val="EFAC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SOC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11093" y="834344"/>
            <a:ext cx="2942082" cy="442913"/>
          </a:xfrm>
          <a:prstGeom prst="rect">
            <a:avLst/>
          </a:prstGeom>
          <a:solidFill>
            <a:srgbClr val="DA3E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Next Gen SO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73402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Monitor security infrastructure alerts, heavily dependent on default system alerts with minor customiz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11093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/>
              <a:t>Proactively</a:t>
            </a:r>
            <a:r>
              <a:rPr lang="en-US" sz="900" dirty="0"/>
              <a:t> respond to cyber security incidents, heavily dependent on analyst customized </a:t>
            </a:r>
            <a:r>
              <a:rPr lang="en-US" sz="900" dirty="0" err="1"/>
              <a:t>rulesets</a:t>
            </a:r>
            <a:r>
              <a:rPr lang="en-US" sz="900" dirty="0"/>
              <a:t> and signatures</a:t>
            </a:r>
          </a:p>
        </p:txBody>
      </p:sp>
      <p:sp>
        <p:nvSpPr>
          <p:cNvPr id="8" name="Rectangle 7"/>
          <p:cNvSpPr/>
          <p:nvPr/>
        </p:nvSpPr>
        <p:spPr>
          <a:xfrm>
            <a:off x="373402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cident resolution and ticket closure </a:t>
            </a:r>
          </a:p>
          <a:p>
            <a:r>
              <a:rPr lang="en-US" sz="900" dirty="0"/>
              <a:t>i.e., a malware infected PC would get isolated and re-imaged as a resolu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411093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telligence gathering, documentation, deployment, and intel sharing</a:t>
            </a:r>
          </a:p>
          <a:p>
            <a:r>
              <a:rPr lang="en-US" sz="900" dirty="0"/>
              <a:t>i.e., a malware infected PC would be analyzed forensically, reverse engineered, 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3402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Not equipped for detecting/investigating APT, long-term campaig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11093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Requires higher network and system visibility than average SOC with a deployment of intelligence DB, threat hunting and Big Data.</a:t>
            </a:r>
          </a:p>
        </p:txBody>
      </p:sp>
    </p:spTree>
    <p:extLst>
      <p:ext uri="{BB962C8B-B14F-4D97-AF65-F5344CB8AC3E}">
        <p14:creationId xmlns:p14="http://schemas.microsoft.com/office/powerpoint/2010/main" val="1606975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SOC Vs Next Gen SOC (IDD)</a:t>
            </a:r>
          </a:p>
        </p:txBody>
      </p:sp>
      <p:sp>
        <p:nvSpPr>
          <p:cNvPr id="3" name="Rectangle 2"/>
          <p:cNvSpPr/>
          <p:nvPr/>
        </p:nvSpPr>
        <p:spPr>
          <a:xfrm>
            <a:off x="373402" y="834344"/>
            <a:ext cx="2942082" cy="442913"/>
          </a:xfrm>
          <a:prstGeom prst="rect">
            <a:avLst/>
          </a:prstGeom>
          <a:solidFill>
            <a:srgbClr val="EFAC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SOC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11093" y="834344"/>
            <a:ext cx="2942082" cy="442913"/>
          </a:xfrm>
          <a:prstGeom prst="rect">
            <a:avLst/>
          </a:prstGeom>
          <a:solidFill>
            <a:srgbClr val="DA3E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Next Gen SO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73402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Monitor security infrastructure alerts, heavily dependent on default system alerts with minor customiz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11093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/>
              <a:t>Proactively</a:t>
            </a:r>
            <a:r>
              <a:rPr lang="en-US" sz="900" dirty="0"/>
              <a:t> respond to cyber security incidents, heavily dependent on analyst customized </a:t>
            </a:r>
            <a:r>
              <a:rPr lang="en-US" sz="900" dirty="0" err="1"/>
              <a:t>rulesets</a:t>
            </a:r>
            <a:r>
              <a:rPr lang="en-US" sz="900" dirty="0"/>
              <a:t> and signatures</a:t>
            </a:r>
          </a:p>
        </p:txBody>
      </p:sp>
      <p:sp>
        <p:nvSpPr>
          <p:cNvPr id="8" name="Rectangle 7"/>
          <p:cNvSpPr/>
          <p:nvPr/>
        </p:nvSpPr>
        <p:spPr>
          <a:xfrm>
            <a:off x="373402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cident resolution and ticket closure </a:t>
            </a:r>
          </a:p>
          <a:p>
            <a:r>
              <a:rPr lang="en-US" sz="900" dirty="0"/>
              <a:t>i.e., a malware infected PC would get isolated and re-imaged as a resolu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411093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telligence gathering, documentation, deployment, and intel sharing</a:t>
            </a:r>
          </a:p>
          <a:p>
            <a:r>
              <a:rPr lang="en-US" sz="900" dirty="0"/>
              <a:t>i.e., a malware infected PC would be analyzed forensically, reverse engineered, 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3402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Not equipped for detecting/investigating APT, long-term campaig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11093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Requires higher network and system visibility than average SOC with a deployment of intelligence DB, threat hunting and Big Data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3402" y="2940029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The skill set is mainly related to security system administration (i.e., Firewall, IPS/IDS, HIPS, AV, SIEM, </a:t>
            </a:r>
            <a:r>
              <a:rPr lang="en-US" sz="900" dirty="0" err="1"/>
              <a:t>auth</a:t>
            </a:r>
            <a:r>
              <a:rPr lang="en-US" sz="900" dirty="0"/>
              <a:t> systems)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411093" y="2940029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Skill sets mainly around forensics analysis, malware reverse engineering, attack analysis, incident handling, and system administrators</a:t>
            </a:r>
          </a:p>
        </p:txBody>
      </p:sp>
    </p:spTree>
    <p:extLst>
      <p:ext uri="{BB962C8B-B14F-4D97-AF65-F5344CB8AC3E}">
        <p14:creationId xmlns:p14="http://schemas.microsoft.com/office/powerpoint/2010/main" val="383645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3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SOC Vs Next Gen SOC (IDD)</a:t>
            </a:r>
          </a:p>
        </p:txBody>
      </p:sp>
      <p:sp>
        <p:nvSpPr>
          <p:cNvPr id="3" name="Rectangle 2"/>
          <p:cNvSpPr/>
          <p:nvPr/>
        </p:nvSpPr>
        <p:spPr>
          <a:xfrm>
            <a:off x="373402" y="834344"/>
            <a:ext cx="2942082" cy="442913"/>
          </a:xfrm>
          <a:prstGeom prst="rect">
            <a:avLst/>
          </a:prstGeom>
          <a:solidFill>
            <a:srgbClr val="EFAC2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SOC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411093" y="834344"/>
            <a:ext cx="2942082" cy="442913"/>
          </a:xfrm>
          <a:prstGeom prst="rect">
            <a:avLst/>
          </a:prstGeom>
          <a:solidFill>
            <a:srgbClr val="DA3E7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/>
              <a:t>Next Gen SOC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73402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Monitor security infrastructure alerts, heavily dependent on default system alerts with minor customization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411093" y="1316117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b="1" dirty="0"/>
              <a:t>Proactively</a:t>
            </a:r>
            <a:r>
              <a:rPr lang="en-US" sz="900" dirty="0"/>
              <a:t> respond to cyber security incidents, heavily dependent on analyst customized </a:t>
            </a:r>
            <a:r>
              <a:rPr lang="en-US" sz="900" dirty="0" err="1"/>
              <a:t>rulesets</a:t>
            </a:r>
            <a:r>
              <a:rPr lang="en-US" sz="900" dirty="0"/>
              <a:t> and signatures</a:t>
            </a:r>
          </a:p>
        </p:txBody>
      </p:sp>
      <p:sp>
        <p:nvSpPr>
          <p:cNvPr id="8" name="Rectangle 7"/>
          <p:cNvSpPr/>
          <p:nvPr/>
        </p:nvSpPr>
        <p:spPr>
          <a:xfrm>
            <a:off x="373402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cident resolution and ticket closure </a:t>
            </a:r>
          </a:p>
          <a:p>
            <a:r>
              <a:rPr lang="en-US" sz="900" dirty="0"/>
              <a:t>i.e., a malware infected PC would get isolated and re-imaged as a resolution</a:t>
            </a:r>
          </a:p>
        </p:txBody>
      </p:sp>
      <p:sp>
        <p:nvSpPr>
          <p:cNvPr id="9" name="Rectangle 8"/>
          <p:cNvSpPr/>
          <p:nvPr/>
        </p:nvSpPr>
        <p:spPr>
          <a:xfrm>
            <a:off x="3411093" y="1797890"/>
            <a:ext cx="2942082" cy="621506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Focused on intelligence gathering, documentation, deployment, and intel sharing</a:t>
            </a:r>
          </a:p>
          <a:p>
            <a:r>
              <a:rPr lang="en-US" sz="900" dirty="0"/>
              <a:t>i.e., a malware infected PC would be analyzed forensically, reverse engineered, 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3402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Not equipped for detecting/investigating APT, long-term campaig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11093" y="2458256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Requires higher network and system visibility than average SOC with a deployment of intelligence DB, threat hunting and Big Data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73402" y="2940029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The skill set is mainly related to security system administration (i.e., Firewall, IPS/IDS, HIPS, AV, SIEM, </a:t>
            </a:r>
            <a:r>
              <a:rPr lang="en-US" sz="900" dirty="0" err="1"/>
              <a:t>auth</a:t>
            </a:r>
            <a:r>
              <a:rPr lang="en-US" sz="900" dirty="0"/>
              <a:t> systems)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411093" y="2940029"/>
            <a:ext cx="2942082" cy="44291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/>
              <a:t>Skill sets mainly around forensics analysis, malware reverse engineering, attack analysis, incident handling, and system administrato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73402" y="3580304"/>
            <a:ext cx="5969513" cy="510003"/>
          </a:xfrm>
          <a:prstGeom prst="rect">
            <a:avLst/>
          </a:prstGeom>
          <a:solidFill>
            <a:srgbClr val="712C8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/>
              <a:t>One crucial foundation of an IDD approach is the adoption of the CKC® threat model</a:t>
            </a:r>
          </a:p>
        </p:txBody>
      </p:sp>
    </p:spTree>
    <p:extLst>
      <p:ext uri="{BB962C8B-B14F-4D97-AF65-F5344CB8AC3E}">
        <p14:creationId xmlns:p14="http://schemas.microsoft.com/office/powerpoint/2010/main" val="80916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809674" y="-411637"/>
            <a:ext cx="138552" cy="276993"/>
          </a:xfrm>
          <a:prstGeom prst="rect">
            <a:avLst/>
          </a:prstGeom>
          <a:noFill/>
        </p:spPr>
        <p:txBody>
          <a:bodyPr wrap="none" lIns="68574" tIns="34287" rIns="68574" bIns="34287" rtlCol="0">
            <a:spAutoFit/>
          </a:bodyPr>
          <a:lstStyle/>
          <a:p>
            <a:endParaRPr lang="en-US" sz="1350" dirty="0"/>
          </a:p>
        </p:txBody>
      </p:sp>
      <p:sp>
        <p:nvSpPr>
          <p:cNvPr id="14" name="TextBox 13"/>
          <p:cNvSpPr txBox="1"/>
          <p:nvPr/>
        </p:nvSpPr>
        <p:spPr>
          <a:xfrm>
            <a:off x="262468" y="656707"/>
            <a:ext cx="5863115" cy="484742"/>
          </a:xfrm>
          <a:prstGeom prst="rect">
            <a:avLst/>
          </a:prstGeom>
          <a:noFill/>
        </p:spPr>
        <p:txBody>
          <a:bodyPr wrap="square" lIns="68574" tIns="34287" rIns="68574" bIns="34287" rtlCol="0">
            <a:spAutoFit/>
          </a:bodyPr>
          <a:lstStyle/>
          <a:p>
            <a:r>
              <a:rPr lang="en-US" sz="900" dirty="0">
                <a:latin typeface="STC-Regular"/>
                <a:cs typeface="STC-Regular"/>
              </a:rPr>
              <a:t>A Term Derived from Offensive Military Tactics, Coined by Lockheed Martin (LM)</a:t>
            </a:r>
          </a:p>
          <a:p>
            <a:r>
              <a:rPr lang="en-US" sz="900" dirty="0">
                <a:latin typeface="STC-Regular"/>
                <a:cs typeface="STC-Regular"/>
              </a:rPr>
              <a:t>Allows for Proactive Remediation &amp; Mitigation of Advanced Threats</a:t>
            </a:r>
          </a:p>
          <a:p>
            <a:r>
              <a:rPr lang="en-US" sz="900" dirty="0">
                <a:latin typeface="STC-Regular"/>
                <a:cs typeface="STC-Regular"/>
              </a:rPr>
              <a:t>A 7-Step Approach Depicting Stages of any Cyber Attack: </a:t>
            </a:r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018951" y="4316519"/>
            <a:ext cx="1600200" cy="205383"/>
          </a:xfrm>
          <a:ln>
            <a:noFill/>
          </a:ln>
        </p:spPr>
        <p:txBody>
          <a:bodyPr/>
          <a:lstStyle/>
          <a:p>
            <a:fld id="{2066355A-084C-D24E-9AD2-7E4FC41EA627}" type="slidenum">
              <a:rPr lang="en-US" smtClean="0"/>
              <a:t>8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996" y="683132"/>
            <a:ext cx="94454" cy="14168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4"/>
          <a:srcRect t="10860" r="8713"/>
          <a:stretch/>
        </p:blipFill>
        <p:spPr>
          <a:xfrm>
            <a:off x="2516742" y="1311161"/>
            <a:ext cx="1446449" cy="3594214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871019" y="1458921"/>
            <a:ext cx="2737131" cy="369332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Attackers preparation phase, researching about the target victim.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3743569" y="1259607"/>
            <a:ext cx="1336736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Reconnaissanc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8720" y="1969082"/>
            <a:ext cx="2603929" cy="369332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Coupling malware (i.e., RAT) with an exploit. </a:t>
            </a:r>
          </a:p>
          <a:p>
            <a:pPr lvl="0">
              <a:defRPr sz="1800"/>
            </a:pPr>
            <a:r>
              <a:rPr lang="en-US" sz="900" dirty="0"/>
              <a:t>Office/PDFs serve as a deliverable payload.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1614198" y="1769768"/>
            <a:ext cx="1230998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Weaponization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096" y="834325"/>
            <a:ext cx="94454" cy="14168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096" y="983781"/>
            <a:ext cx="94454" cy="14168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3893147" y="2502695"/>
            <a:ext cx="2726004" cy="507831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>
              <a:defRPr sz="1800"/>
            </a:pPr>
            <a:r>
              <a:rPr lang="en-US" sz="900" dirty="0"/>
              <a:t>The delivery method to victims, i.e.. email with malicious links/attachments, compromised websites, and removable media.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3765698" y="2303380"/>
            <a:ext cx="1324781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Deliver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8720" y="2949466"/>
            <a:ext cx="2603929" cy="369332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Executing attackers code, usually through an application and/or OS vulnerability.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1574116" y="2750152"/>
            <a:ext cx="1271081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Exploitatio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898205" y="3530750"/>
            <a:ext cx="2720946" cy="369332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Installing a backdoor to maintain persistent access.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3770756" y="3331436"/>
            <a:ext cx="1319346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Installa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8720" y="3985769"/>
            <a:ext cx="2603929" cy="507831"/>
          </a:xfrm>
          <a:prstGeom prst="rect">
            <a:avLst/>
          </a:prstGeom>
          <a:noFill/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Beaconing traffic out to C2 where adversary can remotely control victim machine, happens through web, DNS, and/or email.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1565471" y="3786455"/>
            <a:ext cx="1279725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Command &amp; Control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887204" y="4520417"/>
            <a:ext cx="2720946" cy="369332"/>
          </a:xfrm>
          <a:prstGeom prst="rect">
            <a:avLst/>
          </a:prstGeom>
          <a:solidFill>
            <a:schemeClr val="bg1"/>
          </a:solidFill>
          <a:ln w="19050">
            <a:solidFill>
              <a:srgbClr val="5C1A6E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lvl="0">
              <a:defRPr sz="1800"/>
            </a:pPr>
            <a:r>
              <a:rPr lang="en-US" sz="900" dirty="0"/>
              <a:t>Installing a backdoor to maintain persistent access.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3759755" y="4321102"/>
            <a:ext cx="1320433" cy="195998"/>
          </a:xfrm>
          <a:prstGeom prst="roundRect">
            <a:avLst/>
          </a:prstGeom>
          <a:ln>
            <a:solidFill>
              <a:srgbClr val="5C1A6E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25" b="1" dirty="0"/>
              <a:t>Actions on Objectives</a:t>
            </a: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5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>
                <a:solidFill>
                  <a:srgbClr val="000000"/>
                </a:solidFill>
                <a:latin typeface="STC-Medium"/>
                <a:cs typeface="STC-Medium"/>
              </a:rPr>
              <a:t>What is the Cyber Kill Chain (CKC)®? </a:t>
            </a:r>
          </a:p>
        </p:txBody>
      </p:sp>
    </p:spTree>
    <p:extLst>
      <p:ext uri="{BB962C8B-B14F-4D97-AF65-F5344CB8AC3E}">
        <p14:creationId xmlns:p14="http://schemas.microsoft.com/office/powerpoint/2010/main" val="2958714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5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/>
          <p:cNvGraphicFramePr>
            <a:graphicFrameLocks noGrp="1"/>
          </p:cNvGraphicFramePr>
          <p:nvPr>
            <p:extLst/>
          </p:nvPr>
        </p:nvGraphicFramePr>
        <p:xfrm>
          <a:off x="333606" y="515061"/>
          <a:ext cx="2578168" cy="4141911"/>
        </p:xfrm>
        <a:graphic>
          <a:graphicData uri="http://schemas.openxmlformats.org/drawingml/2006/table">
            <a:tbl>
              <a:tblPr firstRow="1" bandRow="1"/>
              <a:tblGrid>
                <a:gridCol w="7681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0999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118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457200" rtl="0" eaLnBrk="1" latinLnBrk="0" hangingPunct="1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ase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1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ttacker A</a:t>
                      </a:r>
                    </a:p>
                  </a:txBody>
                  <a:tcPr marL="68580" marR="68580" marT="34290" marB="34290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366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6892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Rec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</a:rPr>
                        <a:t>Email list</a:t>
                      </a:r>
                      <a:r>
                        <a:rPr lang="en-US" sz="900" b="0" baseline="0" dirty="0" smtClean="0">
                          <a:effectLst/>
                        </a:rPr>
                        <a:t> harvesting (List A)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Benign doc: </a:t>
                      </a:r>
                      <a:r>
                        <a:rPr lang="en-US" sz="900" b="1" baseline="0" dirty="0" smtClean="0">
                          <a:effectLst/>
                          <a:latin typeface="+mn-lt"/>
                        </a:rPr>
                        <a:t>newsLetter.pdf</a:t>
                      </a:r>
                      <a:endParaRPr lang="en-US" sz="900" b="1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34066">
                <a:tc rowSpan="2"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Weaponi-zation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effectLst/>
                          <a:latin typeface="+mn-lt"/>
                        </a:rPr>
                        <a:t>Basic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Encryption Algorithm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6550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u="sng" dirty="0" smtClean="0">
                          <a:effectLst/>
                          <a:latin typeface="+mn-lt"/>
                        </a:rPr>
                        <a:t>Key 1</a:t>
                      </a:r>
                      <a:r>
                        <a:rPr lang="en-US" sz="900" b="0" dirty="0" smtClean="0">
                          <a:effectLst/>
                          <a:latin typeface="+mn-lt"/>
                        </a:rPr>
                        <a:t>, 8-bit</a:t>
                      </a:r>
                      <a:r>
                        <a:rPr lang="en-US" sz="900" b="0" baseline="0" dirty="0" smtClean="0">
                          <a:effectLst/>
                          <a:latin typeface="+mn-lt"/>
                        </a:rPr>
                        <a:t> key stored in the exploit code</a:t>
                      </a:r>
                      <a:endParaRPr lang="en-US" sz="900" b="0" dirty="0" smtClean="0">
                        <a:effectLst/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5682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900" dirty="0" smtClean="0"/>
                        <a:t>Delivery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9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bject: News Letter Update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4223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nder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m@Gmail.com 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0784">
                <a:tc vMerge="1">
                  <a:txBody>
                    <a:bodyPr/>
                    <a:lstStyle/>
                    <a:p>
                      <a:pPr algn="ctr"/>
                      <a:endParaRPr lang="en-GB" sz="12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teway: </a:t>
                      </a:r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.x.x.7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12402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Exploit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VE-2015-0531</a:t>
                      </a:r>
                      <a:endParaRPr lang="en-GB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586234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Install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latin typeface="Helvetica"/>
                          <a:ea typeface="Helvetica"/>
                          <a:cs typeface="Helvetica"/>
                          <a:sym typeface="Helvetica"/>
                        </a:rPr>
                        <a:t>C:\....\FF\FirefoxUpdat.exe
C:\.....\sysinternal.exe
C:\….\Firefox.hlp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05760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C2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.x.x.7</a:t>
                      </a:r>
                    </a:p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[HTTP Request]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79278">
                <a:tc>
                  <a:txBody>
                    <a:bodyPr/>
                    <a:lstStyle/>
                    <a:p>
                      <a:pPr algn="ctr"/>
                      <a:r>
                        <a:rPr lang="en-GB" sz="900" dirty="0" smtClean="0"/>
                        <a:t>Actions on Objectives</a:t>
                      </a:r>
                      <a:endParaRPr lang="en-GB" sz="900" dirty="0"/>
                    </a:p>
                  </a:txBody>
                  <a:tcPr marL="68580" marR="68580" marT="34290" marB="3429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  <a:endParaRPr lang="en-GB" sz="9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/>
        </p:nvSpPr>
        <p:spPr>
          <a:xfrm>
            <a:off x="294189" y="766098"/>
            <a:ext cx="2758115" cy="109910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28" name="TextBox 27"/>
          <p:cNvSpPr txBox="1"/>
          <p:nvPr/>
        </p:nvSpPr>
        <p:spPr>
          <a:xfrm>
            <a:off x="335482" y="1832548"/>
            <a:ext cx="2930501" cy="94438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29" name="TextBox 28"/>
          <p:cNvSpPr txBox="1"/>
          <p:nvPr/>
        </p:nvSpPr>
        <p:spPr>
          <a:xfrm>
            <a:off x="329860" y="3781805"/>
            <a:ext cx="2812454" cy="4154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30" name="TextBox 29"/>
          <p:cNvSpPr txBox="1"/>
          <p:nvPr/>
        </p:nvSpPr>
        <p:spPr>
          <a:xfrm>
            <a:off x="337356" y="4198719"/>
            <a:ext cx="2804958" cy="65601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31" name="TextBox 30"/>
          <p:cNvSpPr txBox="1"/>
          <p:nvPr/>
        </p:nvSpPr>
        <p:spPr>
          <a:xfrm>
            <a:off x="335485" y="466570"/>
            <a:ext cx="2750619" cy="3000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350" dirty="0"/>
          </a:p>
        </p:txBody>
      </p:sp>
      <p:sp>
        <p:nvSpPr>
          <p:cNvPr id="32" name="TextBox 31"/>
          <p:cNvSpPr txBox="1"/>
          <p:nvPr/>
        </p:nvSpPr>
        <p:spPr>
          <a:xfrm>
            <a:off x="333605" y="3127045"/>
            <a:ext cx="2808708" cy="6547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grpSp>
        <p:nvGrpSpPr>
          <p:cNvPr id="33" name="Group 32"/>
          <p:cNvGrpSpPr/>
          <p:nvPr/>
        </p:nvGrpSpPr>
        <p:grpSpPr>
          <a:xfrm>
            <a:off x="2715025" y="3447210"/>
            <a:ext cx="674558" cy="1341028"/>
            <a:chOff x="3620033" y="4111081"/>
            <a:chExt cx="899410" cy="2087351"/>
          </a:xfrm>
        </p:grpSpPr>
        <p:sp>
          <p:nvSpPr>
            <p:cNvPr id="34" name="Striped Right Arrow 33"/>
            <p:cNvSpPr/>
            <p:nvPr/>
          </p:nvSpPr>
          <p:spPr>
            <a:xfrm rot="5400000">
              <a:off x="3073516" y="4752506"/>
              <a:ext cx="1992443" cy="899410"/>
            </a:xfrm>
            <a:prstGeom prst="stripedRightArrow">
              <a:avLst/>
            </a:prstGeom>
            <a:ln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 rot="16200000">
              <a:off x="3243735" y="4589823"/>
              <a:ext cx="1634591" cy="677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350" b="1" dirty="0">
                  <a:ln w="0"/>
                  <a:solidFill>
                    <a:schemeClr val="bg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Synthesize</a:t>
              </a:r>
            </a:p>
          </p:txBody>
        </p:sp>
      </p:grpSp>
      <p:sp>
        <p:nvSpPr>
          <p:cNvPr id="36" name="Rounded Rectangle 35"/>
          <p:cNvSpPr/>
          <p:nvPr/>
        </p:nvSpPr>
        <p:spPr>
          <a:xfrm>
            <a:off x="2556757" y="3205662"/>
            <a:ext cx="1001486" cy="272143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350" b="1" dirty="0"/>
              <a:t>Detected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27985" y="2776928"/>
            <a:ext cx="2758116" cy="4079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endParaRPr lang="en-US" sz="1350" dirty="0"/>
          </a:p>
        </p:txBody>
      </p:sp>
      <p:sp>
        <p:nvSpPr>
          <p:cNvPr id="38" name="Striped Right Arrow 37"/>
          <p:cNvSpPr/>
          <p:nvPr/>
        </p:nvSpPr>
        <p:spPr>
          <a:xfrm rot="16200000">
            <a:off x="1708342" y="1473252"/>
            <a:ext cx="2687924" cy="674558"/>
          </a:xfrm>
          <a:prstGeom prst="stripedRightArrow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nalyze</a:t>
            </a: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679" y="3417922"/>
            <a:ext cx="297383" cy="29738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480" y="3449374"/>
            <a:ext cx="265931" cy="26593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/>
          <a:srcRect l="3749" t="-6460" r="4522" b="-5907"/>
          <a:stretch/>
        </p:blipFill>
        <p:spPr>
          <a:xfrm>
            <a:off x="252206" y="262530"/>
            <a:ext cx="6290733" cy="3446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87514" y="305650"/>
            <a:ext cx="6355425" cy="276997"/>
          </a:xfrm>
          <a:prstGeom prst="rect">
            <a:avLst/>
          </a:prstGeom>
          <a:noFill/>
        </p:spPr>
        <p:txBody>
          <a:bodyPr wrap="square" lIns="68577" tIns="34289" rIns="68577" bIns="34289" rtlCol="0">
            <a:spAutoFit/>
          </a:bodyPr>
          <a:lstStyle/>
          <a:p>
            <a:r>
              <a:rPr lang="en-US" sz="1350" dirty="0" smtClean="0">
                <a:solidFill>
                  <a:srgbClr val="000000"/>
                </a:solidFill>
                <a:latin typeface="STC-Medium"/>
                <a:cs typeface="STC-Medium"/>
              </a:rPr>
              <a:t>Attack Scenario</a:t>
            </a:r>
            <a:endParaRPr lang="en-US" sz="1350" dirty="0">
              <a:solidFill>
                <a:srgbClr val="000000"/>
              </a:solidFill>
              <a:latin typeface="STC-Medium"/>
              <a:cs typeface="STC-Medium"/>
            </a:endParaRPr>
          </a:p>
        </p:txBody>
      </p:sp>
    </p:spTree>
    <p:extLst>
      <p:ext uri="{BB962C8B-B14F-4D97-AF65-F5344CB8AC3E}">
        <p14:creationId xmlns:p14="http://schemas.microsoft.com/office/powerpoint/2010/main" val="1409042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6" grpId="0" animBg="1"/>
      <p:bldP spid="37" grpId="0" animBg="1"/>
      <p:bldP spid="3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6F2769-7194-4217-93D3-3AF3A4742282}">
  <ds:schemaRefs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microsoft.com/sharepoint/v3/field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6086</TotalTime>
  <Words>1260</Words>
  <Application>Microsoft Office PowerPoint</Application>
  <PresentationFormat>Custom</PresentationFormat>
  <Paragraphs>221</Paragraphs>
  <Slides>15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BatangChe</vt:lpstr>
      <vt:lpstr>MS Gothic</vt:lpstr>
      <vt:lpstr>MS PGothic</vt:lpstr>
      <vt:lpstr>Arial</vt:lpstr>
      <vt:lpstr>Calibri</vt:lpstr>
      <vt:lpstr>Helvetica</vt:lpstr>
      <vt:lpstr>STC</vt:lpstr>
      <vt:lpstr>STC-Medium</vt:lpstr>
      <vt:lpstr>STC-Regular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yber Security</dc:title>
  <dc:subject/>
  <dc:creator>Fahad Aljutaily</dc:creator>
  <cp:keywords/>
  <dc:description/>
  <cp:lastModifiedBy>Ibrahim A. Chami</cp:lastModifiedBy>
  <cp:revision>436</cp:revision>
  <dcterms:created xsi:type="dcterms:W3CDTF">2010-04-12T23:12:02Z</dcterms:created>
  <dcterms:modified xsi:type="dcterms:W3CDTF">2017-10-15T13:16:27Z</dcterms:modified>
  <cp:category/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